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95" r:id="rId2"/>
    <p:sldId id="258" r:id="rId3"/>
    <p:sldId id="281" r:id="rId4"/>
    <p:sldId id="294" r:id="rId5"/>
    <p:sldId id="256" r:id="rId6"/>
    <p:sldId id="282" r:id="rId7"/>
    <p:sldId id="292" r:id="rId8"/>
    <p:sldId id="283" r:id="rId9"/>
    <p:sldId id="284" r:id="rId10"/>
    <p:sldId id="285" r:id="rId11"/>
    <p:sldId id="286" r:id="rId12"/>
    <p:sldId id="287" r:id="rId13"/>
    <p:sldId id="289" r:id="rId14"/>
    <p:sldId id="265" r:id="rId15"/>
    <p:sldId id="263" r:id="rId16"/>
    <p:sldId id="264" r:id="rId17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00"/>
    <a:srgbClr val="008000"/>
    <a:srgbClr val="33CC33"/>
    <a:srgbClr val="00CC00"/>
    <a:srgbClr val="339966"/>
    <a:srgbClr val="336600"/>
    <a:srgbClr val="005A9C"/>
    <a:srgbClr val="4A7B7C"/>
    <a:srgbClr val="FFFF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81" d="100"/>
          <a:sy n="81" d="100"/>
        </p:scale>
        <p:origin x="-1046" y="-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abstrac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smartphon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edge-hub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cloud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concep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implementation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browser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inding-templates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existing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-minimal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../clipboard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Direct</a:t>
            </a:r>
            <a:br>
              <a:rPr lang="en-US" sz="1600" b="1" dirty="0" smtClean="0"/>
            </a:br>
            <a:r>
              <a:rPr lang="en-US" sz="1600" b="1" dirty="0" smtClean="0"/>
              <a:t>Thing-to-Thing</a:t>
            </a:r>
          </a:p>
          <a:p>
            <a:pPr algn="ctr"/>
            <a:r>
              <a:rPr lang="en-US" sz="1600" b="1" dirty="0" smtClean="0"/>
              <a:t>Interaction</a:t>
            </a:r>
            <a:endParaRPr lang="en-US" sz="1600" b="1" dirty="0"/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ysClr val="window" lastClr="FFFFFF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Complement</a:t>
            </a:r>
            <a:br>
              <a:rPr lang="en-US" sz="1600" b="1" dirty="0" smtClean="0"/>
            </a:br>
            <a:r>
              <a:rPr lang="en-US" sz="1600" b="1" dirty="0" smtClean="0"/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smtClean="0"/>
              <a:t>+</a:t>
            </a:r>
            <a:endParaRPr lang="en-US" sz="1200"/>
          </a:p>
        </p:txBody>
      </p:sp>
      <p:sp>
        <p:nvSpPr>
          <p:cNvPr id="23" name="Textfeld 126"/>
          <p:cNvSpPr txBox="1"/>
          <p:nvPr/>
        </p:nvSpPr>
        <p:spPr>
          <a:xfrm>
            <a:off x="8673977" y="5127722"/>
            <a:ext cx="5485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smtClean="0">
                <a:latin typeface="Arial" panose="020B0604020202020204" pitchFamily="34" charset="0"/>
                <a:cs typeface="Arial" panose="020B0604020202020204" pitchFamily="34" charset="0"/>
              </a:rPr>
              <a:t>Thing</a:t>
            </a:r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mtClean="0">
                <a:sym typeface="Symbol"/>
              </a:rPr>
              <a:t></a:t>
            </a:r>
            <a:endParaRPr lang="en-US" sz="1200" b="1"/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800" kern="0" dirty="0">
              <a:solidFill>
                <a:sysClr val="window" lastClr="FFFFFF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Gateway</a:t>
              </a:r>
              <a:endParaRPr lang="en-US" sz="1600" b="1" dirty="0"/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Cloud</a:t>
            </a:r>
            <a:endParaRPr lang="en-US" sz="1600" b="1" dirty="0"/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smtClea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rPr>
              <a:t>Digital Twiin</a:t>
            </a:r>
            <a:endParaRPr lang="en-US" altLang="ja-JP" sz="800" kern="0">
              <a:solidFill>
                <a:sysClr val="windowText" lastClr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Orchestr.</a:t>
            </a:r>
            <a:r>
              <a:rPr kumimoji="0" lang="en-US" altLang="ja-JP" sz="800" b="0" i="0" u="none" strike="noStrike" kern="0" cap="none" spc="0" normalizeH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Client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xy Thing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Seamless</a:t>
            </a:r>
          </a:p>
          <a:p>
            <a:r>
              <a:rPr lang="en-US" sz="1600" b="1" dirty="0" smtClean="0"/>
              <a:t>Web Integration</a:t>
            </a:r>
            <a:endParaRPr lang="en-US" sz="1600" b="1" dirty="0"/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lc="http://schemas.openxmlformats.org/drawingml/2006/lockedCanvas"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lc="http://schemas.openxmlformats.org/drawingml/2006/lockedCanvas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="" xmlns:lc="http://schemas.openxmlformats.org/drawingml/2006/lockedCanvas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Remote Access</a:t>
            </a:r>
            <a:br>
              <a:rPr lang="en-US" sz="1600" b="1" dirty="0" smtClean="0"/>
            </a:br>
            <a:r>
              <a:rPr lang="en-US" sz="1600" b="1" dirty="0" smtClean="0"/>
              <a:t>and Synchronization</a:t>
            </a:r>
            <a:endParaRPr lang="en-US" sz="1600" b="1" dirty="0"/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Integration and</a:t>
            </a:r>
            <a:br>
              <a:rPr lang="en-US" sz="1600" b="1" dirty="0" smtClean="0"/>
            </a:br>
            <a:r>
              <a:rPr lang="en-US" sz="1600" b="1" dirty="0" smtClean="0"/>
              <a:t>Orchestration</a:t>
            </a:r>
            <a:endParaRPr lang="en-US" sz="1600" b="1" dirty="0"/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Edge Hub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Edge Hub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Hub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Local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Senso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chonet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Prox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Media 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nsumedThing</a:t>
            </a:r>
            <a:r>
              <a:rPr lang="de-DE" sz="1400" dirty="0" smtClean="0">
                <a:solidFill>
                  <a:schemeClr val="bg1"/>
                </a:solidFill>
              </a:rPr>
              <a:t> 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00" name="Rechteckiger Pfeil 34"/>
          <p:cNvSpPr/>
          <p:nvPr/>
        </p:nvSpPr>
        <p:spPr>
          <a:xfrm rot="16200000" flipH="1">
            <a:off x="2114096" y="1904346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8631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114303" y="3495193"/>
            <a:ext cx="864000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651621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163955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4871661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4871661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486631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486916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971604" y="1558533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General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638116" y="4653136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Communications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440160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“IoT Platform” × “Transfer Protocol” × “Media </a:t>
            </a:r>
            <a:r>
              <a:rPr lang="en-US" sz="2000" dirty="0">
                <a:solidFill>
                  <a:schemeClr val="bg1"/>
                </a:solidFill>
              </a:rPr>
              <a:t>Type</a:t>
            </a:r>
            <a:r>
              <a:rPr lang="en-US" sz="2000" dirty="0" smtClean="0">
                <a:solidFill>
                  <a:schemeClr val="bg1"/>
                </a:solidFill>
              </a:rPr>
              <a:t>” </a:t>
            </a:r>
            <a:r>
              <a:rPr lang="en-US" sz="2000" dirty="0">
                <a:solidFill>
                  <a:schemeClr val="bg1"/>
                </a:solidFill>
              </a:rPr>
              <a:t>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JSON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  <a:br>
              <a:rPr lang="de-DE" sz="2000" dirty="0" smtClean="0"/>
            </a:br>
            <a:r>
              <a:rPr lang="de-DE" sz="2000" dirty="0" smtClean="0"/>
              <a:t>Templates</a:t>
            </a:r>
            <a:endParaRPr lang="de-DE" sz="2000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smtClean="0"/>
              <a:t>Instance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err="1" smtClean="0"/>
              <a:t>Implemen</a:t>
            </a:r>
            <a:r>
              <a:rPr lang="en-US" sz="2000" dirty="0" smtClean="0"/>
              <a:t>-</a:t>
            </a:r>
            <a:br>
              <a:rPr lang="en-US" sz="2000" dirty="0" smtClean="0"/>
            </a:br>
            <a:r>
              <a:rPr lang="en-US" sz="2000" dirty="0" err="1" smtClean="0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4</Words>
  <Application>Microsoft Office PowerPoint</Application>
  <PresentationFormat>Bildschirmpräsentation (4:3)</PresentationFormat>
  <Paragraphs>422</Paragraphs>
  <Slides>16</Slides>
  <Notes>13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lastModifiedBy>Matthias Kovatsch</cp:lastModifiedBy>
  <cp:revision>19</cp:revision>
  <cp:lastPrinted>2017-08-07T13:47:57Z</cp:lastPrinted>
  <dcterms:created xsi:type="dcterms:W3CDTF">2017-08-07T12:37:27Z</dcterms:created>
  <dcterms:modified xsi:type="dcterms:W3CDTF">2017-09-04T09:40:24Z</dcterms:modified>
</cp:coreProperties>
</file>